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22FCAF-2831-03F2-F65A-59BCF120E6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22FCAF-2831-03F2-F65A-59BCF120E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5847BBA3-F45F-0943-2E9D-0FA79CB1AC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15BFA2C-9DD0-F793-FACB-2DB8D9D325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5A007C97-D882-6FC1-AB7A-BD9C21367A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5032060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9</TotalTime>
  <Words>15</Words>
  <Application>Microsoft Office PowerPoint</Application>
  <PresentationFormat>Widescreen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Click to edit Master title sty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99</cp:revision>
  <dcterms:created xsi:type="dcterms:W3CDTF">2025-07-09T10:57:17Z</dcterms:created>
  <dcterms:modified xsi:type="dcterms:W3CDTF">2025-10-22T10:14:34Z</dcterms:modified>
  <cp:category/>
</cp:coreProperties>
</file>